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04" r:id="rId4"/>
  </p:sldMasterIdLst>
  <p:notesMasterIdLst>
    <p:notesMasterId r:id="rId42"/>
  </p:notesMasterIdLst>
  <p:handoutMasterIdLst>
    <p:handoutMasterId r:id="rId43"/>
  </p:handoutMasterIdLst>
  <p:sldIdLst>
    <p:sldId id="412" r:id="rId5"/>
    <p:sldId id="413" r:id="rId6"/>
    <p:sldId id="414" r:id="rId7"/>
    <p:sldId id="415" r:id="rId8"/>
    <p:sldId id="416" r:id="rId9"/>
    <p:sldId id="417" r:id="rId10"/>
    <p:sldId id="418" r:id="rId11"/>
    <p:sldId id="419" r:id="rId12"/>
    <p:sldId id="420" r:id="rId13"/>
    <p:sldId id="421" r:id="rId14"/>
    <p:sldId id="422" r:id="rId15"/>
    <p:sldId id="423" r:id="rId16"/>
    <p:sldId id="424" r:id="rId17"/>
    <p:sldId id="425" r:id="rId18"/>
    <p:sldId id="426" r:id="rId19"/>
    <p:sldId id="427" r:id="rId20"/>
    <p:sldId id="428" r:id="rId21"/>
    <p:sldId id="429" r:id="rId22"/>
    <p:sldId id="430" r:id="rId23"/>
    <p:sldId id="431" r:id="rId24"/>
    <p:sldId id="432" r:id="rId25"/>
    <p:sldId id="433" r:id="rId26"/>
    <p:sldId id="434" r:id="rId27"/>
    <p:sldId id="435" r:id="rId28"/>
    <p:sldId id="436" r:id="rId29"/>
    <p:sldId id="437" r:id="rId30"/>
    <p:sldId id="438" r:id="rId31"/>
    <p:sldId id="439" r:id="rId32"/>
    <p:sldId id="440" r:id="rId33"/>
    <p:sldId id="441" r:id="rId34"/>
    <p:sldId id="442" r:id="rId35"/>
    <p:sldId id="443" r:id="rId36"/>
    <p:sldId id="444" r:id="rId37"/>
    <p:sldId id="445" r:id="rId38"/>
    <p:sldId id="446" r:id="rId39"/>
    <p:sldId id="447" r:id="rId40"/>
    <p:sldId id="448" r:id="rId41"/>
  </p:sldIdLst>
  <p:sldSz cx="12192000" cy="6858000"/>
  <p:notesSz cx="6858000" cy="9144000"/>
  <p:embeddedFontLst>
    <p:embeddedFont>
      <p:font typeface="TeXGyreHeros" panose="020B0604020202020204" charset="0"/>
      <p:regular r:id="rId44"/>
      <p:bold r:id="rId45"/>
      <p:italic r:id="rId46"/>
      <p:boldItalic r:id="rId47"/>
    </p:embeddedFont>
    <p:embeddedFont>
      <p:font typeface="Uppsala Display" panose="00000500000000000000" charset="0"/>
      <p:regular r:id="rId48"/>
    </p:embeddedFont>
  </p:embeddedFont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struktioner" id="{64204F77-B922-4ECA-A61B-4C1583ACD62B}">
          <p14:sldIdLst/>
        </p14:section>
        <p14:section name="Presentation" id="{B972C155-D5BF-46A7-B591-A42909CFC1FA}">
          <p14:sldIdLst>
            <p14:sldId id="412"/>
            <p14:sldId id="413"/>
            <p14:sldId id="414"/>
            <p14:sldId id="415"/>
            <p14:sldId id="416"/>
            <p14:sldId id="417"/>
            <p14:sldId id="418"/>
            <p14:sldId id="419"/>
            <p14:sldId id="420"/>
            <p14:sldId id="421"/>
            <p14:sldId id="422"/>
            <p14:sldId id="423"/>
            <p14:sldId id="424"/>
            <p14:sldId id="425"/>
            <p14:sldId id="426"/>
            <p14:sldId id="427"/>
            <p14:sldId id="428"/>
            <p14:sldId id="429"/>
            <p14:sldId id="430"/>
            <p14:sldId id="431"/>
            <p14:sldId id="432"/>
            <p14:sldId id="433"/>
            <p14:sldId id="434"/>
            <p14:sldId id="435"/>
            <p14:sldId id="436"/>
            <p14:sldId id="437"/>
            <p14:sldId id="438"/>
            <p14:sldId id="439"/>
            <p14:sldId id="440"/>
            <p14:sldId id="441"/>
            <p14:sldId id="442"/>
            <p14:sldId id="443"/>
            <p14:sldId id="444"/>
            <p14:sldId id="445"/>
            <p14:sldId id="446"/>
            <p14:sldId id="447"/>
            <p14:sldId id="44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9328482-082F-D75D-0B27-9DAF0A99E37F}" name="magnus.lejelov" initials="ma" userId="S::magnus.lejelov_stuns.se#ext#@uppsalakommun1.onmicrosoft.com::52429d18-487e-471a-bd24-5cbce1618c98" providerId="AD"/>
  <p188:author id="{16179DE2-C6A8-C69C-2813-D724E0FD39E9}" name="LAIHORINNE SMEDH Isabella" initials="IL" userId="S::isabella.laihorinnesmedh@mygalderma.com::0829f7e8-e332-407d-a9d1-93fd43de1da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1F1"/>
    <a:srgbClr val="FF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llanmörkt format 2 - Dekorfär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llanmörkt format 2 - Dekorfär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9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47" Type="http://schemas.openxmlformats.org/officeDocument/2006/relationships/font" Target="fonts/font4.fntdata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font" Target="fonts/font3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font" Target="fonts/font2.fntdata"/><Relationship Id="rId53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1.fntdata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handoutMaster" Target="handoutMasters/handoutMaster1.xml"/><Relationship Id="rId48" Type="http://schemas.openxmlformats.org/officeDocument/2006/relationships/font" Target="fonts/font5.fntdata"/><Relationship Id="rId8" Type="http://schemas.openxmlformats.org/officeDocument/2006/relationships/slide" Target="slides/slide4.xml"/><Relationship Id="rId51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28ADA863-C077-E8E6-94F2-FBA9F35EC5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C3BC1D9-7939-B9F9-5EBA-5A41C4C97D4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A0E5DF-CB38-41C3-9F17-7D4A1AA4EB47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E1389D3-EE5C-06E5-7D1C-4A0AEF36D96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34C994-390A-157A-F665-F539B2BC822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901BE1-9AAD-480E-9904-F78DC1D2A77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523753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6CD27F-57ED-4050-A749-338366197E0D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9CD586-C145-4C08-8ECD-C931AA62810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98416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ida lj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F5E81ABB-18D2-1A06-9252-C1615D2FAA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258EC79-F416-4E3D-A67E-4A13E80045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8522" y="342460"/>
            <a:ext cx="7419975" cy="2870200"/>
          </a:xfrm>
        </p:spPr>
        <p:txBody>
          <a:bodyPr anchor="t"/>
          <a:lstStyle>
            <a:lvl1pPr algn="l">
              <a:lnSpc>
                <a:spcPct val="83000"/>
              </a:lnSpc>
              <a:defRPr sz="7500" cap="all" spc="-200" baseline="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964F6B1-10EC-43D7-8A6F-B43A304B59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37ACD31-1B3B-4C51-AAAF-B74C576BAD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1FD2A41-9C0C-486B-814D-D78D722ED6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  <p:sp>
        <p:nvSpPr>
          <p:cNvPr id="28" name="Platshållare för text 21">
            <a:extLst>
              <a:ext uri="{FF2B5EF4-FFF2-40B4-BE49-F238E27FC236}">
                <a16:creationId xmlns:a16="http://schemas.microsoft.com/office/drawing/2014/main" id="{2C537D0C-D106-A464-7806-89227F0654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26650" y="6215414"/>
            <a:ext cx="1844675" cy="38584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sv-SE"/>
              <a:t> </a:t>
            </a:r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8610CF28-DBE8-0DB9-7AF3-81F7AA57BA0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796214" y="5905499"/>
            <a:ext cx="2063750" cy="695326"/>
          </a:xfrm>
        </p:spPr>
        <p:txBody>
          <a:bodyPr wrap="none" bIns="900000" anchor="ctr"/>
          <a:lstStyle>
            <a:lvl1pPr marL="0" indent="0" algn="l">
              <a:buNone/>
              <a:defRPr sz="1500">
                <a:solidFill>
                  <a:schemeClr val="tx1">
                    <a:alpha val="22000"/>
                  </a:schemeClr>
                </a:solidFill>
              </a:defRPr>
            </a:lvl1pPr>
          </a:lstStyle>
          <a:p>
            <a:pPr lvl="0"/>
            <a:r>
              <a:rPr lang="sv-SE"/>
              <a:t>Svart Logo</a:t>
            </a:r>
          </a:p>
        </p:txBody>
      </p:sp>
      <p:sp>
        <p:nvSpPr>
          <p:cNvPr id="8" name="Platshållare för innehåll 6">
            <a:extLst>
              <a:ext uri="{FF2B5EF4-FFF2-40B4-BE49-F238E27FC236}">
                <a16:creationId xmlns:a16="http://schemas.microsoft.com/office/drawing/2014/main" id="{FE838329-FA37-B5D8-624B-17374851223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581776" y="5905499"/>
            <a:ext cx="1009650" cy="695325"/>
          </a:xfrm>
        </p:spPr>
        <p:txBody>
          <a:bodyPr bIns="900000" anchor="ctr"/>
          <a:lstStyle>
            <a:lvl1pPr marL="0" indent="0" algn="l">
              <a:buNone/>
              <a:defRPr sz="1500">
                <a:solidFill>
                  <a:schemeClr val="tx1">
                    <a:alpha val="22000"/>
                  </a:schemeClr>
                </a:solidFill>
              </a:defRPr>
            </a:lvl1pPr>
          </a:lstStyle>
          <a:p>
            <a:pPr lvl="0"/>
            <a:r>
              <a:rPr lang="sv-SE"/>
              <a:t>Svart Logo</a:t>
            </a:r>
          </a:p>
        </p:txBody>
      </p:sp>
    </p:spTree>
    <p:extLst>
      <p:ext uri="{BB962C8B-B14F-4D97-AF65-F5344CB8AC3E}">
        <p14:creationId xmlns:p14="http://schemas.microsoft.com/office/powerpoint/2010/main" val="2028898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och stor text">
    <p:bg>
      <p:bgPr>
        <a:solidFill>
          <a:srgbClr val="FFAB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BBD3E39F-14AE-89DE-1E65-1E2F2AEFAA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862762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6B25631-0701-40C3-A2E5-991715C624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7089" y="341312"/>
            <a:ext cx="4700588" cy="6173788"/>
          </a:xfrm>
        </p:spPr>
        <p:txBody>
          <a:bodyPr/>
          <a:lstStyle>
            <a:lvl1pPr>
              <a:defRPr sz="5200"/>
            </a:lvl1pPr>
          </a:lstStyle>
          <a:p>
            <a:r>
              <a:rPr lang="sv-SE"/>
              <a:t>Rubrik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976B228-402E-404C-A134-9A6A7E7B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094C615-7E13-4A8A-90D6-32013DC872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C085466-4788-495F-AA4A-842866450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41386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dskap mö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4B906970-3E04-4D0D-B628-981C4A918A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6059243-015F-4404-ADE1-14E49E0315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3F1E028D-3B14-4181-8E8B-87D9D42D9C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4238A7FD-FEDE-315B-195B-5CA59023E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088" y="341312"/>
            <a:ext cx="8623300" cy="3005138"/>
          </a:xfrm>
        </p:spPr>
        <p:txBody>
          <a:bodyPr/>
          <a:lstStyle>
            <a:lvl1pPr>
              <a:defRPr sz="5200">
                <a:solidFill>
                  <a:srgbClr val="FFABAB"/>
                </a:solidFill>
              </a:defRPr>
            </a:lvl1pPr>
          </a:lstStyle>
          <a:p>
            <a:r>
              <a:rPr lang="sv-SE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27498220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kap lj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4B906970-3E04-4D0D-B628-981C4A918A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6059243-015F-4404-ADE1-14E49E0315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3F1E028D-3B14-4181-8E8B-87D9D42D9C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4238A7FD-FEDE-315B-195B-5CA59023E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088" y="341312"/>
            <a:ext cx="8623300" cy="3005138"/>
          </a:xfrm>
        </p:spPr>
        <p:txBody>
          <a:bodyPr/>
          <a:lstStyle>
            <a:lvl1pPr>
              <a:defRPr sz="5200"/>
            </a:lvl1pPr>
          </a:lstStyle>
          <a:p>
            <a:r>
              <a:rPr lang="sv-SE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9137008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dskap bild mö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C328881C-F993-0BA7-36BB-9987919FB8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4B906970-3E04-4D0D-B628-981C4A918A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6059243-015F-4404-ADE1-14E49E0315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3F1E028D-3B14-4181-8E8B-87D9D42D9C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4238A7FD-FEDE-315B-195B-5CA59023E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088" y="341312"/>
            <a:ext cx="8623300" cy="3005138"/>
          </a:xfr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sv-SE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1382205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kap bild lju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 5">
            <a:extLst>
              <a:ext uri="{FF2B5EF4-FFF2-40B4-BE49-F238E27FC236}">
                <a16:creationId xmlns:a16="http://schemas.microsoft.com/office/drawing/2014/main" id="{1426F7F8-A32E-BF61-3513-C9B7EBA6393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4B906970-3E04-4D0D-B628-981C4A918A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6059243-015F-4404-ADE1-14E49E0315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3F1E028D-3B14-4181-8E8B-87D9D42D9C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4238A7FD-FEDE-315B-195B-5CA59023E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088" y="341312"/>
            <a:ext cx="8623300" cy="3005138"/>
          </a:xfrm>
        </p:spPr>
        <p:txBody>
          <a:bodyPr/>
          <a:lstStyle>
            <a:lvl1pPr>
              <a:defRPr sz="5200"/>
            </a:lvl1pPr>
          </a:lstStyle>
          <a:p>
            <a:r>
              <a:rPr lang="sv-SE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3751706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animering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4B906970-3E04-4D0D-B628-981C4A918A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6059243-015F-4404-ADE1-14E49E0315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3F1E028D-3B14-4181-8E8B-87D9D42D9C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DC6FA8B5-20D7-62F4-DF89-FEECA98C42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6300000">
            <a:off x="2563410" y="2470972"/>
            <a:ext cx="19229789" cy="1915909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500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sv-SE"/>
              <a:t>Klock-</a:t>
            </a:r>
            <a:br>
              <a:rPr lang="sv-SE"/>
            </a:br>
            <a:r>
              <a:rPr lang="sv-SE"/>
              <a:t>ANIMATION</a:t>
            </a:r>
          </a:p>
        </p:txBody>
      </p:sp>
      <p:sp>
        <p:nvSpPr>
          <p:cNvPr id="10" name="Platshållare för text 6">
            <a:extLst>
              <a:ext uri="{FF2B5EF4-FFF2-40B4-BE49-F238E27FC236}">
                <a16:creationId xmlns:a16="http://schemas.microsoft.com/office/drawing/2014/main" id="{243CCF57-7F91-E232-BBE2-445C4E300E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5400000">
            <a:off x="319088" y="2471046"/>
            <a:ext cx="23722012" cy="1915909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500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sv-SE"/>
              <a:t>UPPSALA</a:t>
            </a:r>
            <a:br>
              <a:rPr lang="sv-SE"/>
            </a:br>
            <a:r>
              <a:rPr lang="sv-SE"/>
              <a:t>DOMKYRKA</a:t>
            </a:r>
          </a:p>
        </p:txBody>
      </p:sp>
      <p:sp>
        <p:nvSpPr>
          <p:cNvPr id="12" name="Platshållare för text 6">
            <a:extLst>
              <a:ext uri="{FF2B5EF4-FFF2-40B4-BE49-F238E27FC236}">
                <a16:creationId xmlns:a16="http://schemas.microsoft.com/office/drawing/2014/main" id="{C423190C-2C19-AD02-E957-DD9D5DBFA2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4500000">
            <a:off x="2793483" y="2648720"/>
            <a:ext cx="18798155" cy="1914525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500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sv-SE"/>
              <a:t>UPPLANDS-</a:t>
            </a:r>
            <a:br>
              <a:rPr lang="sv-SE"/>
            </a:br>
            <a:r>
              <a:rPr lang="sv-SE"/>
              <a:t>MUSEET</a:t>
            </a:r>
          </a:p>
        </p:txBody>
      </p:sp>
    </p:spTree>
    <p:extLst>
      <p:ext uri="{BB962C8B-B14F-4D97-AF65-F5344CB8AC3E}">
        <p14:creationId xmlns:p14="http://schemas.microsoft.com/office/powerpoint/2010/main" val="35744752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6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-5400000">
                                      <p:cBhvr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-5400000">
                                      <p:cBhvr>
                                        <p:cTn id="10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8" presetClass="emph" presetSubtype="0" accel="10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6000000">
                                      <p:cBhvr>
                                        <p:cTn id="14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ac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-6000000">
                                      <p:cBhvr>
                                        <p:cTn id="16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8" presetClass="emph" presetSubtype="0" ac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-6000000">
                                      <p:cBhvr>
                                        <p:cTn id="1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>
        <p:tmplLst>
          <p:tmpl>
            <p:tnLst>
              <p:par>
                <p:cTn presetID="8" presetClass="emph" presetSubtype="0" decel="100000" fill="hold" nodeType="withEffect">
                  <p:stCondLst>
                    <p:cond delay="200"/>
                  </p:stCondLst>
                  <p:childTnLst>
                    <p:animRot by="-5400000">
                      <p:cBhvr>
                        <p:cTn dur="750" fill="hold"/>
                        <p:tgtEl>
                          <p:spTgt spid="7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  <p:bldP spid="7" grpId="1">
        <p:tmplLst>
          <p:tmpl>
            <p:tnLst>
              <p:par>
                <p:cTn presetID="8" presetClass="emph" presetSubtype="0" accel="100000" fill="hold" nodeType="withEffect">
                  <p:stCondLst>
                    <p:cond delay="200"/>
                  </p:stCondLst>
                  <p:childTnLst>
                    <p:animRot by="-6000000">
                      <p:cBhvr>
                        <p:cTn dur="750" fill="hold"/>
                        <p:tgtEl>
                          <p:spTgt spid="7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  <p:bldP spid="10" grpId="0">
        <p:tmplLst>
          <p:tmpl>
            <p:tnLst>
              <p:par>
                <p:cTn presetID="8" presetClass="emph" presetSubtype="0" decel="100000" fill="hold" nodeType="withEffect">
                  <p:stCondLst>
                    <p:cond delay="100"/>
                  </p:stCondLst>
                  <p:childTnLst>
                    <p:animRot by="-5400000">
                      <p:cBhvr>
                        <p:cTn dur="750" fill="hold"/>
                        <p:tgtEl>
                          <p:spTgt spid="10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  <p:bldP spid="10" grpId="1">
        <p:tmplLst>
          <p:tmpl>
            <p:tnLst>
              <p:par>
                <p:cTn presetID="8" presetClass="emph" presetSubtype="0" accel="100000" fill="hold" nodeType="withEffect">
                  <p:stCondLst>
                    <p:cond delay="100"/>
                  </p:stCondLst>
                  <p:childTnLst>
                    <p:animRot by="-6000000">
                      <p:cBhvr>
                        <p:cTn dur="750" fill="hold"/>
                        <p:tgtEl>
                          <p:spTgt spid="10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  <p:bldP spid="12" grpId="0">
        <p:tmplLst>
          <p:tmpl>
            <p:tnLst>
              <p:par>
                <p:cTn presetID="8" presetClass="emph" presetSubtype="0" decel="100000" fill="hold" nodeType="clickEffect">
                  <p:stCondLst>
                    <p:cond delay="0"/>
                  </p:stCondLst>
                  <p:childTnLst>
                    <p:animRot by="-5400000">
                      <p:cBhvr>
                        <p:cTn dur="750" fill="hold"/>
                        <p:tgtEl>
                          <p:spTgt spid="12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  <p:bldP spid="12" grpId="1">
        <p:tmplLst>
          <p:tmpl>
            <p:tnLst>
              <p:par>
                <p:cTn presetID="8" presetClass="emph" presetSubtype="0" accel="100000" fill="hold" nodeType="clickEffect">
                  <p:stCondLst>
                    <p:cond delay="0"/>
                  </p:stCondLst>
                  <p:childTnLst>
                    <p:animRot by="-6000000">
                      <p:cBhvr>
                        <p:cTn dur="750" fill="hold"/>
                        <p:tgtEl>
                          <p:spTgt spid="12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animering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4B906970-3E04-4D0D-B628-981C4A918A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6059243-015F-4404-ADE1-14E49E0315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3F1E028D-3B14-4181-8E8B-87D9D42D9C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DC6FA8B5-20D7-62F4-DF89-FEECA98C42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17100000">
            <a:off x="-9274696" y="2769164"/>
            <a:ext cx="19184595" cy="1914525"/>
          </a:xfrm>
        </p:spPr>
        <p:txBody>
          <a:bodyPr wrap="square" lIns="13860000"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5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sv-SE"/>
              <a:t>TEXT ETT</a:t>
            </a:r>
            <a:br>
              <a:rPr lang="sv-SE"/>
            </a:br>
            <a:r>
              <a:rPr lang="sv-SE"/>
              <a:t>LOREM</a:t>
            </a:r>
          </a:p>
        </p:txBody>
      </p:sp>
      <p:sp>
        <p:nvSpPr>
          <p:cNvPr id="10" name="Platshållare för text 6">
            <a:extLst>
              <a:ext uri="{FF2B5EF4-FFF2-40B4-BE49-F238E27FC236}">
                <a16:creationId xmlns:a16="http://schemas.microsoft.com/office/drawing/2014/main" id="{243CCF57-7F91-E232-BBE2-445C4E300E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11234799" y="2471046"/>
            <a:ext cx="23104800" cy="1915909"/>
          </a:xfrm>
        </p:spPr>
        <p:txBody>
          <a:bodyPr wrap="square" lIns="17640000"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5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sv-SE"/>
              <a:t>TEXT TVÅ</a:t>
            </a:r>
            <a:br>
              <a:rPr lang="sv-SE"/>
            </a:br>
            <a:r>
              <a:rPr lang="sv-SE"/>
              <a:t>LOREM</a:t>
            </a:r>
          </a:p>
        </p:txBody>
      </p:sp>
      <p:sp>
        <p:nvSpPr>
          <p:cNvPr id="12" name="Platshållare för text 6">
            <a:extLst>
              <a:ext uri="{FF2B5EF4-FFF2-40B4-BE49-F238E27FC236}">
                <a16:creationId xmlns:a16="http://schemas.microsoft.com/office/drawing/2014/main" id="{C423190C-2C19-AD02-E957-DD9D5DBFA2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5300000">
            <a:off x="-9283599" y="2375797"/>
            <a:ext cx="19202400" cy="1915909"/>
          </a:xfrm>
        </p:spPr>
        <p:txBody>
          <a:bodyPr wrap="square" lIns="13680000"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5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sv-SE"/>
              <a:t>TEXT TRE</a:t>
            </a:r>
            <a:br>
              <a:rPr lang="sv-SE"/>
            </a:br>
            <a:r>
              <a:rPr lang="sv-SE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241653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5400000">
                                      <p:cBhvr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5400000">
                                      <p:cBhvr>
                                        <p:cTn id="10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8" presetClass="emph" presetSubtype="0" accel="10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Rot by="6000000">
                                      <p:cBhvr>
                                        <p:cTn id="14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ac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6000000">
                                      <p:cBhvr>
                                        <p:cTn id="16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8" presetClass="emph" presetSubtype="0" ac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6000000">
                                      <p:cBhvr>
                                        <p:cTn id="1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>
        <p:tmplLst>
          <p:tmpl>
            <p:tnLst>
              <p:par>
                <p:cTn presetID="8" presetClass="emph" presetSubtype="0" decel="100000" fill="hold" nodeType="clickEffect">
                  <p:stCondLst>
                    <p:cond delay="0"/>
                  </p:stCondLst>
                  <p:childTnLst>
                    <p:animRot by="5400000">
                      <p:cBhvr>
                        <p:cTn dur="750" fill="hold"/>
                        <p:tgtEl>
                          <p:spTgt spid="7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  <p:bldP spid="7" grpId="1">
        <p:tmplLst>
          <p:tmpl>
            <p:tnLst>
              <p:par>
                <p:cTn presetID="8" presetClass="emph" presetSubtype="0" accel="100000" fill="hold" nodeType="clickEffect">
                  <p:stCondLst>
                    <p:cond delay="0"/>
                  </p:stCondLst>
                  <p:childTnLst>
                    <p:animRot by="6000000">
                      <p:cBhvr>
                        <p:cTn dur="750" fill="hold"/>
                        <p:tgtEl>
                          <p:spTgt spid="7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  <p:bldP spid="10" grpId="0">
        <p:tmplLst>
          <p:tmpl>
            <p:tnLst>
              <p:par>
                <p:cTn presetID="8" presetClass="emph" presetSubtype="0" decel="100000" fill="hold" nodeType="withEffect">
                  <p:stCondLst>
                    <p:cond delay="100"/>
                  </p:stCondLst>
                  <p:childTnLst>
                    <p:animRot by="5400000">
                      <p:cBhvr>
                        <p:cTn dur="750" fill="hold"/>
                        <p:tgtEl>
                          <p:spTgt spid="10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  <p:bldP spid="10" grpId="1">
        <p:tmplLst>
          <p:tmpl>
            <p:tnLst>
              <p:par>
                <p:cTn presetID="8" presetClass="emph" presetSubtype="0" accel="100000" fill="hold" nodeType="withEffect">
                  <p:stCondLst>
                    <p:cond delay="100"/>
                  </p:stCondLst>
                  <p:childTnLst>
                    <p:animRot by="6000000">
                      <p:cBhvr>
                        <p:cTn dur="750" fill="hold"/>
                        <p:tgtEl>
                          <p:spTgt spid="10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  <p:bldP spid="12" grpId="0">
        <p:tmplLst>
          <p:tmpl>
            <p:tnLst>
              <p:par>
                <p:cTn presetID="8" presetClass="emph" presetSubtype="0" decel="100000" fill="hold" nodeType="withEffect">
                  <p:stCondLst>
                    <p:cond delay="200"/>
                  </p:stCondLst>
                  <p:childTnLst>
                    <p:animRot by="5400000">
                      <p:cBhvr>
                        <p:cTn dur="750" fill="hold"/>
                        <p:tgtEl>
                          <p:spTgt spid="12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  <p:bldP spid="12" grpId="1">
        <p:tmplLst>
          <p:tmpl>
            <p:tnLst>
              <p:par>
                <p:cTn presetID="8" presetClass="emph" presetSubtype="0" accel="100000" fill="hold" nodeType="withEffect">
                  <p:stCondLst>
                    <p:cond delay="200"/>
                  </p:stCondLst>
                  <p:childTnLst>
                    <p:animRot by="6000000">
                      <p:cBhvr>
                        <p:cTn dur="750" fill="hold"/>
                        <p:tgtEl>
                          <p:spTgt spid="12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976B228-402E-404C-A134-9A6A7E7B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094C615-7E13-4A8A-90D6-32013DC872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C085466-4788-495F-AA4A-842866450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6327B207-FB05-2D0D-8B86-2369FFC169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9086" y="466725"/>
            <a:ext cx="11552236" cy="5886450"/>
          </a:xfrm>
        </p:spPr>
        <p:txBody>
          <a:bodyPr/>
          <a:lstStyle>
            <a:lvl1pPr>
              <a:lnSpc>
                <a:spcPct val="84000"/>
              </a:lnSpc>
              <a:spcBef>
                <a:spcPts val="1220"/>
              </a:spcBef>
              <a:spcAft>
                <a:spcPts val="1220"/>
              </a:spcAft>
              <a:defRPr cap="all" spc="-90" baseline="0">
                <a:solidFill>
                  <a:schemeClr val="tx1"/>
                </a:solidFill>
              </a:defRPr>
            </a:lvl1pPr>
            <a:lvl2pPr>
              <a:lnSpc>
                <a:spcPct val="84000"/>
              </a:lnSpc>
              <a:spcAft>
                <a:spcPts val="1220"/>
              </a:spcAft>
              <a:defRPr cap="all" spc="-90" baseline="0">
                <a:solidFill>
                  <a:schemeClr val="tx1"/>
                </a:solidFill>
              </a:defRPr>
            </a:lvl2pPr>
            <a:lvl3pPr>
              <a:lnSpc>
                <a:spcPct val="84000"/>
              </a:lnSpc>
              <a:spcAft>
                <a:spcPts val="1220"/>
              </a:spcAft>
              <a:defRPr cap="all" spc="-90" baseline="0">
                <a:solidFill>
                  <a:schemeClr val="tx1"/>
                </a:solidFill>
              </a:defRPr>
            </a:lvl3pPr>
            <a:lvl4pPr>
              <a:lnSpc>
                <a:spcPct val="84000"/>
              </a:lnSpc>
              <a:spcAft>
                <a:spcPts val="1220"/>
              </a:spcAft>
              <a:defRPr cap="all" spc="-90" baseline="0">
                <a:solidFill>
                  <a:schemeClr val="tx1"/>
                </a:solidFill>
              </a:defRPr>
            </a:lvl4pPr>
            <a:lvl5pPr>
              <a:lnSpc>
                <a:spcPct val="84000"/>
              </a:lnSpc>
              <a:spcAft>
                <a:spcPts val="1220"/>
              </a:spcAft>
              <a:defRPr cap="all" spc="-9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8188980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5571902-9019-4326-9DA4-70B9743B49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89" y="323851"/>
            <a:ext cx="2767012" cy="1966912"/>
          </a:xfrm>
        </p:spPr>
        <p:txBody>
          <a:bodyPr/>
          <a:lstStyle>
            <a:lvl1pPr>
              <a:defRPr sz="25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4B906970-3E04-4D0D-B628-981C4A918A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6059243-015F-4404-ADE1-14E49E0315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3F1E028D-3B14-4181-8E8B-87D9D42D9C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251170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 vi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5571902-9019-4326-9DA4-70B9743B49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89" y="323851"/>
            <a:ext cx="2767012" cy="1966912"/>
          </a:xfrm>
        </p:spPr>
        <p:txBody>
          <a:bodyPr/>
          <a:lstStyle>
            <a:lvl1pPr>
              <a:defRPr sz="25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4B906970-3E04-4D0D-B628-981C4A918A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6059243-015F-4404-ADE1-14E49E0315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3F1E028D-3B14-4181-8E8B-87D9D42D9C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5943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ida mö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F5E81ABB-18D2-1A06-9252-C1615D2FAA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258EC79-F416-4E3D-A67E-4A13E80045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8522" y="342460"/>
            <a:ext cx="7419975" cy="2870200"/>
          </a:xfrm>
        </p:spPr>
        <p:txBody>
          <a:bodyPr anchor="t"/>
          <a:lstStyle>
            <a:lvl1pPr algn="l">
              <a:lnSpc>
                <a:spcPct val="83000"/>
              </a:lnSpc>
              <a:defRPr sz="7500" cap="all" spc="-200" baseline="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964F6B1-10EC-43D7-8A6F-B43A304B59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37ACD31-1B3B-4C51-AAAF-B74C576BAD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1FD2A41-9C0C-486B-814D-D78D722ED6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  <p:sp>
        <p:nvSpPr>
          <p:cNvPr id="22" name="Platshållare för text 21">
            <a:extLst>
              <a:ext uri="{FF2B5EF4-FFF2-40B4-BE49-F238E27FC236}">
                <a16:creationId xmlns:a16="http://schemas.microsoft.com/office/drawing/2014/main" id="{F7CC206F-C9DB-8FB2-63C8-F8FF87F714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26650" y="6215414"/>
            <a:ext cx="1844675" cy="38584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sv-SE"/>
              <a:t> </a:t>
            </a:r>
          </a:p>
        </p:txBody>
      </p:sp>
      <p:sp>
        <p:nvSpPr>
          <p:cNvPr id="3" name="Platshållare för innehåll 6">
            <a:extLst>
              <a:ext uri="{FF2B5EF4-FFF2-40B4-BE49-F238E27FC236}">
                <a16:creationId xmlns:a16="http://schemas.microsoft.com/office/drawing/2014/main" id="{846E97F8-3126-F942-B262-15057E648E5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796214" y="5905499"/>
            <a:ext cx="2063750" cy="695326"/>
          </a:xfrm>
        </p:spPr>
        <p:txBody>
          <a:bodyPr wrap="none" bIns="900000" anchor="ctr"/>
          <a:lstStyle>
            <a:lvl1pPr marL="0" indent="0" algn="l">
              <a:buNone/>
              <a:defRPr sz="1500">
                <a:solidFill>
                  <a:schemeClr val="tx1">
                    <a:alpha val="22000"/>
                  </a:schemeClr>
                </a:solidFill>
              </a:defRPr>
            </a:lvl1pPr>
          </a:lstStyle>
          <a:p>
            <a:pPr lvl="0"/>
            <a:r>
              <a:rPr lang="sv-SE"/>
              <a:t>Vit Logo</a:t>
            </a:r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68861B1E-5C77-F56F-CB2D-95DB9DA4F6E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581776" y="5905499"/>
            <a:ext cx="1009650" cy="695325"/>
          </a:xfrm>
        </p:spPr>
        <p:txBody>
          <a:bodyPr bIns="900000" anchor="ctr"/>
          <a:lstStyle>
            <a:lvl1pPr marL="0" indent="0" algn="l">
              <a:buNone/>
              <a:defRPr sz="1500">
                <a:solidFill>
                  <a:schemeClr val="tx1">
                    <a:alpha val="22000"/>
                  </a:schemeClr>
                </a:solidFill>
              </a:defRPr>
            </a:lvl1pPr>
          </a:lstStyle>
          <a:p>
            <a:pPr lvl="0"/>
            <a:r>
              <a:rPr lang="sv-SE"/>
              <a:t>Vit Logo</a:t>
            </a:r>
          </a:p>
        </p:txBody>
      </p:sp>
    </p:spTree>
    <p:extLst>
      <p:ext uri="{BB962C8B-B14F-4D97-AF65-F5344CB8AC3E}">
        <p14:creationId xmlns:p14="http://schemas.microsoft.com/office/powerpoint/2010/main" val="14238958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EF0C26C3-B13E-495A-A6E4-2EC4E724A2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BF95847E-A091-4B48-90CC-8498D25ED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81B4C505-33E4-4681-8C5B-77BB1E17C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938880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EF0C26C3-B13E-495A-A6E4-2EC4E724A2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BF95847E-A091-4B48-90CC-8498D25ED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81B4C505-33E4-4681-8C5B-77BB1E17C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  <p:pic>
        <p:nvPicPr>
          <p:cNvPr id="9" name="Bild 8">
            <a:extLst>
              <a:ext uri="{FF2B5EF4-FFF2-40B4-BE49-F238E27FC236}">
                <a16:creationId xmlns:a16="http://schemas.microsoft.com/office/drawing/2014/main" id="{8D58A6D6-6D85-C7C6-C79E-2B52A30BFB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18625" y="3117176"/>
            <a:ext cx="2555876" cy="53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224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EF0C26C3-B13E-495A-A6E4-2EC4E724A2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BF95847E-A091-4B48-90CC-8498D25ED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81B4C505-33E4-4681-8C5B-77BB1E17C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  <p:pic>
        <p:nvPicPr>
          <p:cNvPr id="9" name="Bild 8">
            <a:extLst>
              <a:ext uri="{FF2B5EF4-FFF2-40B4-BE49-F238E27FC236}">
                <a16:creationId xmlns:a16="http://schemas.microsoft.com/office/drawing/2014/main" id="{8D58A6D6-6D85-C7C6-C79E-2B52A30BFB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18625" y="3117176"/>
            <a:ext cx="2555876" cy="53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3641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dor efter denna sida tillhör ej mal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ruta 4">
            <a:extLst>
              <a:ext uri="{FF2B5EF4-FFF2-40B4-BE49-F238E27FC236}">
                <a16:creationId xmlns:a16="http://schemas.microsoft.com/office/drawing/2014/main" id="{4405A5C8-297E-E3EB-142A-5DE16BD606D2}"/>
              </a:ext>
            </a:extLst>
          </p:cNvPr>
          <p:cNvSpPr txBox="1"/>
          <p:nvPr userDrawn="1"/>
        </p:nvSpPr>
        <p:spPr>
          <a:xfrm>
            <a:off x="1676400" y="2344087"/>
            <a:ext cx="8839200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sv-SE" sz="5000" b="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idor efter denna sida tillhör ej mallen. Byt istället till en layout innan denna sida.</a:t>
            </a:r>
          </a:p>
        </p:txBody>
      </p:sp>
    </p:spTree>
    <p:extLst>
      <p:ext uri="{BB962C8B-B14F-4D97-AF65-F5344CB8AC3E}">
        <p14:creationId xmlns:p14="http://schemas.microsoft.com/office/powerpoint/2010/main" val="3642272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5249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elsid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D6EA362-9137-45DF-BEE4-B691A8719B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088" y="385763"/>
            <a:ext cx="7646987" cy="4017962"/>
          </a:xfrm>
        </p:spPr>
        <p:txBody>
          <a:bodyPr anchor="t"/>
          <a:lstStyle>
            <a:lvl1pPr>
              <a:defRPr sz="7500">
                <a:solidFill>
                  <a:schemeClr val="accent1"/>
                </a:solidFill>
              </a:defRPr>
            </a:lvl1pPr>
          </a:lstStyle>
          <a:p>
            <a:r>
              <a:rPr lang="sv-SE"/>
              <a:t>Titel på kapitel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81D78077-8D23-4A9C-AD57-B41C92D6A8D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805280" y="5810352"/>
            <a:ext cx="1070807" cy="957955"/>
          </a:xfrm>
        </p:spPr>
        <p:txBody>
          <a:bodyPr wrap="none" anchor="b">
            <a:spAutoFit/>
          </a:bodyPr>
          <a:lstStyle>
            <a:lvl1pPr marL="0" indent="0" algn="r">
              <a:buNone/>
              <a:defRPr sz="75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##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5FD365D-8709-4288-B31C-9EDA4CFD9E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BEC5015-75F5-4019-9FE1-99AF477F6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4DEBBFDA-2391-4373-9266-2ED5FFB6DB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93770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elsida med logoty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D6EA362-9137-45DF-BEE4-B691A8719B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088" y="385763"/>
            <a:ext cx="7646987" cy="4017962"/>
          </a:xfrm>
        </p:spPr>
        <p:txBody>
          <a:bodyPr anchor="t"/>
          <a:lstStyle>
            <a:lvl1pPr>
              <a:defRPr sz="7500">
                <a:solidFill>
                  <a:schemeClr val="tx2"/>
                </a:solidFill>
              </a:defRPr>
            </a:lvl1pPr>
          </a:lstStyle>
          <a:p>
            <a:r>
              <a:rPr lang="sv-SE"/>
              <a:t>Titel på kapitel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81D78077-8D23-4A9C-AD57-B41C92D6A8D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805280" y="341313"/>
            <a:ext cx="1070807" cy="957955"/>
          </a:xfrm>
        </p:spPr>
        <p:txBody>
          <a:bodyPr wrap="none" anchor="t">
            <a:spAutoFit/>
          </a:bodyPr>
          <a:lstStyle>
            <a:lvl1pPr marL="0" indent="0" algn="r">
              <a:buNone/>
              <a:defRPr sz="75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##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5FD365D-8709-4288-B31C-9EDA4CFD9E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BEC5015-75F5-4019-9FE1-99AF477F6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4DEBBFDA-2391-4373-9266-2ED5FFB6DB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 7">
            <a:extLst>
              <a:ext uri="{FF2B5EF4-FFF2-40B4-BE49-F238E27FC236}">
                <a16:creationId xmlns:a16="http://schemas.microsoft.com/office/drawing/2014/main" id="{6933DCC6-C15F-BDF0-6621-4477C8C754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26650" y="6215415"/>
            <a:ext cx="1844675" cy="38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2608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Kapitelsida med logoty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D6EA362-9137-45DF-BEE4-B691A8719B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088" y="385763"/>
            <a:ext cx="7646987" cy="4017962"/>
          </a:xfrm>
        </p:spPr>
        <p:txBody>
          <a:bodyPr anchor="t"/>
          <a:lstStyle>
            <a:lvl1pPr>
              <a:defRPr sz="7500">
                <a:solidFill>
                  <a:schemeClr val="tx2"/>
                </a:solidFill>
              </a:defRPr>
            </a:lvl1pPr>
          </a:lstStyle>
          <a:p>
            <a:r>
              <a:rPr lang="sv-SE"/>
              <a:t>Titel på kapitel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81D78077-8D23-4A9C-AD57-B41C92D6A8D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805280" y="341313"/>
            <a:ext cx="1070807" cy="957955"/>
          </a:xfrm>
        </p:spPr>
        <p:txBody>
          <a:bodyPr wrap="none" anchor="t">
            <a:spAutoFit/>
          </a:bodyPr>
          <a:lstStyle>
            <a:lvl1pPr marL="0" indent="0" algn="r">
              <a:buNone/>
              <a:defRPr sz="75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##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5FD365D-8709-4288-B31C-9EDA4CFD9E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BEC5015-75F5-4019-9FE1-99AF477F6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4DEBBFDA-2391-4373-9266-2ED5FFB6DB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 7">
            <a:extLst>
              <a:ext uri="{FF2B5EF4-FFF2-40B4-BE49-F238E27FC236}">
                <a16:creationId xmlns:a16="http://schemas.microsoft.com/office/drawing/2014/main" id="{6933DCC6-C15F-BDF0-6621-4477C8C754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26650" y="6215415"/>
            <a:ext cx="1844675" cy="38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8058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6B25631-0701-40C3-A2E5-991715C624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088" y="328613"/>
            <a:ext cx="3743325" cy="485389"/>
          </a:xfrm>
        </p:spPr>
        <p:txBody>
          <a:bodyPr wrap="square">
            <a:spAutoFit/>
          </a:bodyPr>
          <a:lstStyle>
            <a:lvl1pPr>
              <a:defRPr sz="3800">
                <a:solidFill>
                  <a:schemeClr val="tx1"/>
                </a:solidFill>
              </a:defRPr>
            </a:lvl1pPr>
          </a:lstStyle>
          <a:p>
            <a:r>
              <a:rPr lang="sv-SE" err="1"/>
              <a:t>rUBRIK</a:t>
            </a:r>
            <a:endParaRPr lang="sv-SE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976B228-402E-404C-A134-9A6A7E7B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094C615-7E13-4A8A-90D6-32013DC872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C085466-4788-495F-AA4A-842866450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DC258A02-67DD-DE42-0151-9A57B2E2A5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34000" y="328613"/>
            <a:ext cx="6537323" cy="6024563"/>
          </a:xfrm>
        </p:spPr>
        <p:txBody>
          <a:bodyPr/>
          <a:lstStyle>
            <a:lvl1pPr>
              <a:spcBef>
                <a:spcPts val="280"/>
              </a:spcBef>
              <a:spcAft>
                <a:spcPts val="280"/>
              </a:spcAft>
              <a:defRPr sz="3000">
                <a:solidFill>
                  <a:schemeClr val="tx1"/>
                </a:solidFill>
              </a:defRPr>
            </a:lvl1pPr>
            <a:lvl2pPr>
              <a:spcAft>
                <a:spcPts val="280"/>
              </a:spcAft>
              <a:defRPr sz="3000">
                <a:solidFill>
                  <a:schemeClr val="tx1"/>
                </a:solidFill>
              </a:defRPr>
            </a:lvl2pPr>
            <a:lvl3pPr>
              <a:spcAft>
                <a:spcPts val="280"/>
              </a:spcAft>
              <a:defRPr sz="3000">
                <a:solidFill>
                  <a:schemeClr val="tx1"/>
                </a:solidFill>
              </a:defRPr>
            </a:lvl3pPr>
            <a:lvl4pPr>
              <a:spcAft>
                <a:spcPts val="280"/>
              </a:spcAft>
              <a:defRPr sz="3000">
                <a:solidFill>
                  <a:schemeClr val="tx1"/>
                </a:solidFill>
              </a:defRPr>
            </a:lvl4pPr>
            <a:lvl5pPr>
              <a:spcAft>
                <a:spcPts val="280"/>
              </a:spcAft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7232351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bg>
      <p:bgPr>
        <a:solidFill>
          <a:srgbClr val="FFAB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6B25631-0701-40C3-A2E5-991715C624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4DD60AF-FC73-41DA-8ECD-F5290F6D92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976B228-402E-404C-A134-9A6A7E7B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094C615-7E13-4A8A-90D6-32013DC872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C085466-4788-495F-AA4A-842866450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9668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lju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6B25631-0701-40C3-A2E5-991715C624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4DD60AF-FC73-41DA-8ECD-F5290F6D92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976B228-402E-404C-A134-9A6A7E7B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094C615-7E13-4A8A-90D6-32013DC872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C085466-4788-495F-AA4A-842866450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65102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BBD3E39F-14AE-89DE-1E65-1E2F2AEFAA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29238" y="0"/>
            <a:ext cx="6862762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6B25631-0701-40C3-A2E5-991715C624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088" y="341312"/>
            <a:ext cx="4719637" cy="1677988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Rubrik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4DD60AF-FC73-41DA-8ECD-F5290F6D92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88" y="2430780"/>
            <a:ext cx="4719638" cy="3922394"/>
          </a:xfrm>
        </p:spPr>
        <p:txBody>
          <a:bodyPr/>
          <a:lstStyle>
            <a:lvl1pPr>
              <a:defRPr sz="3000"/>
            </a:lvl1pPr>
            <a:lvl2pPr>
              <a:defRPr sz="3000"/>
            </a:lvl2pPr>
            <a:lvl3pPr>
              <a:defRPr sz="3000"/>
            </a:lvl3pPr>
            <a:lvl4pPr>
              <a:defRPr sz="3000"/>
            </a:lvl4pPr>
            <a:lvl5pPr>
              <a:defRPr sz="30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976B228-402E-404C-A134-9A6A7E7B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6-04-1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094C615-7E13-4A8A-90D6-32013DC872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C085466-4788-495F-AA4A-842866450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282368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3032821-0AEF-A59C-6362-B3DB965211FE}"/>
              </a:ext>
            </a:extLst>
          </p:cNvPr>
          <p:cNvGraphicFramePr>
            <a:graphicFrameLocks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46821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032821-0AEF-A59C-6362-B3DB965211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152683E2-9A31-4B47-ACFE-390B6E0AF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88" y="557213"/>
            <a:ext cx="11552237" cy="12064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81C0710F-3CB3-4F01-9977-A1A69928F1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9087" y="2019301"/>
            <a:ext cx="11552237" cy="43338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  <a:p>
            <a:pPr lvl="5"/>
            <a:r>
              <a:rPr lang="sv-SE"/>
              <a:t>Nivå 6</a:t>
            </a:r>
          </a:p>
          <a:p>
            <a:pPr lvl="6"/>
            <a:r>
              <a:rPr lang="sv-SE"/>
              <a:t>Nivå 7</a:t>
            </a:r>
          </a:p>
          <a:p>
            <a:pPr lvl="7"/>
            <a:r>
              <a:rPr lang="sv-SE"/>
              <a:t>Nivå 8</a:t>
            </a:r>
          </a:p>
          <a:p>
            <a:pPr lvl="8"/>
            <a:r>
              <a:rPr lang="sv-SE"/>
              <a:t>Nivå 9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07D54BB-8EC7-458A-A082-8AF4306364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3238" y="6858000"/>
            <a:ext cx="3078162" cy="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1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fld id="{FD403CD0-842C-4BCD-83D3-BB78B185EE38}" type="datetimeFigureOut">
              <a:rPr lang="sv-SE" smtClean="0"/>
              <a:pPr/>
              <a:t>2026-04-1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C0A3ABB-C906-40E9-AF35-0DB0B34032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858000"/>
            <a:ext cx="4114800" cy="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1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7249AA9-CC7D-40E0-9894-3652F2EE8C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858000"/>
            <a:ext cx="3076575" cy="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1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fld id="{AE086683-F536-42AB-ABBC-F4803DFE8DB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10910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</p:sldLayoutIdLst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500" kern="1200" cap="all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1150" indent="-311150" algn="l" defTabSz="914400" rtl="0" eaLnBrk="1" latinLnBrk="0" hangingPunct="1">
        <a:lnSpc>
          <a:spcPct val="83000"/>
        </a:lnSpc>
        <a:spcBef>
          <a:spcPts val="850"/>
        </a:spcBef>
        <a:spcAft>
          <a:spcPts val="850"/>
        </a:spcAft>
        <a:buSzPct val="85000"/>
        <a:buFont typeface="Arial" panose="020B0604020202020204" pitchFamily="34" charset="0"/>
        <a:buChar char="•"/>
        <a:defRPr sz="4500" kern="1200">
          <a:solidFill>
            <a:schemeClr val="tx2"/>
          </a:solidFill>
          <a:latin typeface="+mn-lt"/>
          <a:ea typeface="+mn-ea"/>
          <a:cs typeface="+mn-cs"/>
        </a:defRPr>
      </a:lvl1pPr>
      <a:lvl2pPr marL="638175" indent="-320675" algn="l" defTabSz="914400" rtl="0" eaLnBrk="1" latinLnBrk="0" hangingPunct="1">
        <a:lnSpc>
          <a:spcPct val="83000"/>
        </a:lnSpc>
        <a:spcBef>
          <a:spcPts val="0"/>
        </a:spcBef>
        <a:spcAft>
          <a:spcPts val="850"/>
        </a:spcAft>
        <a:buFont typeface="TeXGyreHeros" panose="00000500000000000000" pitchFamily="50" charset="0"/>
        <a:buChar char="-"/>
        <a:defRPr sz="4500" kern="1200">
          <a:solidFill>
            <a:schemeClr val="tx2"/>
          </a:solidFill>
          <a:latin typeface="+mn-lt"/>
          <a:ea typeface="+mn-ea"/>
          <a:cs typeface="+mn-cs"/>
        </a:defRPr>
      </a:lvl2pPr>
      <a:lvl3pPr marL="984250" indent="-355600" algn="l" defTabSz="914400" rtl="0" eaLnBrk="1" latinLnBrk="0" hangingPunct="1">
        <a:lnSpc>
          <a:spcPct val="83000"/>
        </a:lnSpc>
        <a:spcBef>
          <a:spcPts val="0"/>
        </a:spcBef>
        <a:spcAft>
          <a:spcPts val="850"/>
        </a:spcAft>
        <a:buFont typeface="TeXGyreHeros" panose="00000500000000000000" pitchFamily="50" charset="0"/>
        <a:buChar char="-"/>
        <a:defRPr sz="4500" kern="1200">
          <a:solidFill>
            <a:schemeClr val="tx2"/>
          </a:solidFill>
          <a:latin typeface="+mn-lt"/>
          <a:ea typeface="+mn-ea"/>
          <a:cs typeface="+mn-cs"/>
        </a:defRPr>
      </a:lvl3pPr>
      <a:lvl4pPr marL="1352550" indent="-361950" algn="l" defTabSz="914400" rtl="0" eaLnBrk="1" latinLnBrk="0" hangingPunct="1">
        <a:lnSpc>
          <a:spcPct val="83000"/>
        </a:lnSpc>
        <a:spcBef>
          <a:spcPts val="0"/>
        </a:spcBef>
        <a:spcAft>
          <a:spcPts val="850"/>
        </a:spcAft>
        <a:buFont typeface="TeXGyreHeros" panose="00000500000000000000" pitchFamily="50" charset="0"/>
        <a:buChar char="-"/>
        <a:defRPr sz="4500" kern="1200">
          <a:solidFill>
            <a:schemeClr val="tx2"/>
          </a:solidFill>
          <a:latin typeface="+mn-lt"/>
          <a:ea typeface="+mn-ea"/>
          <a:cs typeface="+mn-cs"/>
        </a:defRPr>
      </a:lvl4pPr>
      <a:lvl5pPr marL="1708150" indent="-342900" algn="l" defTabSz="914400" rtl="0" eaLnBrk="1" latinLnBrk="0" hangingPunct="1">
        <a:lnSpc>
          <a:spcPct val="83000"/>
        </a:lnSpc>
        <a:spcBef>
          <a:spcPts val="0"/>
        </a:spcBef>
        <a:spcAft>
          <a:spcPts val="850"/>
        </a:spcAft>
        <a:buFont typeface="TeXGyreHeros" panose="00000500000000000000" pitchFamily="50" charset="0"/>
        <a:buChar char="-"/>
        <a:defRPr sz="4500" kern="1200">
          <a:solidFill>
            <a:schemeClr val="tx2"/>
          </a:solidFill>
          <a:latin typeface="+mn-lt"/>
          <a:ea typeface="+mn-ea"/>
          <a:cs typeface="+mn-cs"/>
        </a:defRPr>
      </a:lvl5pPr>
      <a:lvl6pPr marL="2076450" indent="-355600" algn="l" defTabSz="914400" rtl="0" eaLnBrk="1" latinLnBrk="0" hangingPunct="1">
        <a:lnSpc>
          <a:spcPct val="83000"/>
        </a:lnSpc>
        <a:spcBef>
          <a:spcPts val="0"/>
        </a:spcBef>
        <a:spcAft>
          <a:spcPts val="850"/>
        </a:spcAft>
        <a:buFont typeface="TeXGyreHeros" panose="00000500000000000000" pitchFamily="50" charset="0"/>
        <a:buChar char="-"/>
        <a:defRPr sz="4500" kern="1200">
          <a:solidFill>
            <a:schemeClr val="tx2"/>
          </a:solidFill>
          <a:latin typeface="+mn-lt"/>
          <a:ea typeface="+mn-ea"/>
          <a:cs typeface="+mn-cs"/>
        </a:defRPr>
      </a:lvl6pPr>
      <a:lvl7pPr marL="2432050" indent="-355600" algn="l" defTabSz="914400" rtl="0" eaLnBrk="1" latinLnBrk="0" hangingPunct="1">
        <a:lnSpc>
          <a:spcPct val="83000"/>
        </a:lnSpc>
        <a:spcBef>
          <a:spcPts val="0"/>
        </a:spcBef>
        <a:spcAft>
          <a:spcPts val="850"/>
        </a:spcAft>
        <a:buFont typeface="TeXGyreHeros" panose="00000500000000000000" pitchFamily="50" charset="0"/>
        <a:buChar char="-"/>
        <a:defRPr sz="4500" kern="1200">
          <a:solidFill>
            <a:schemeClr val="tx2"/>
          </a:solidFill>
          <a:latin typeface="+mn-lt"/>
          <a:ea typeface="+mn-ea"/>
          <a:cs typeface="+mn-cs"/>
        </a:defRPr>
      </a:lvl7pPr>
      <a:lvl8pPr marL="2789238" indent="-358775" algn="l" defTabSz="914400" rtl="0" eaLnBrk="1" latinLnBrk="0" hangingPunct="1">
        <a:lnSpc>
          <a:spcPct val="83000"/>
        </a:lnSpc>
        <a:spcBef>
          <a:spcPts val="0"/>
        </a:spcBef>
        <a:spcAft>
          <a:spcPts val="850"/>
        </a:spcAft>
        <a:buFont typeface="TeXGyreHeros" panose="00000500000000000000" pitchFamily="50" charset="0"/>
        <a:buChar char="-"/>
        <a:defRPr sz="4500" kern="1200">
          <a:solidFill>
            <a:schemeClr val="tx2"/>
          </a:solidFill>
          <a:latin typeface="+mn-lt"/>
          <a:ea typeface="+mn-ea"/>
          <a:cs typeface="+mn-cs"/>
        </a:defRPr>
      </a:lvl8pPr>
      <a:lvl9pPr marL="3146425" indent="-357188" algn="l" defTabSz="914400" rtl="0" eaLnBrk="1" latinLnBrk="0" hangingPunct="1">
        <a:lnSpc>
          <a:spcPct val="83000"/>
        </a:lnSpc>
        <a:spcBef>
          <a:spcPts val="0"/>
        </a:spcBef>
        <a:spcAft>
          <a:spcPts val="850"/>
        </a:spcAft>
        <a:buFont typeface="TeXGyreHeros" panose="00000500000000000000" pitchFamily="50" charset="0"/>
        <a:buChar char="-"/>
        <a:defRPr sz="4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01">
          <p15:clr>
            <a:srgbClr val="646464"/>
          </p15:clr>
        </p15:guide>
        <p15:guide id="2" pos="7478">
          <p15:clr>
            <a:srgbClr val="646464"/>
          </p15:clr>
        </p15:guide>
        <p15:guide id="3" orient="horz" pos="215">
          <p15:clr>
            <a:srgbClr val="646464"/>
          </p15:clr>
        </p15:guide>
        <p15:guide id="4" orient="horz" pos="4104">
          <p15:clr>
            <a:srgbClr val="64646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1AC4BA9F-766C-B139-5076-AAF308BD49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084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BDC9F0DF-F750-2C7D-6219-D672641C18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6624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408315A6-F716-8F3D-3669-0A5A228541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4237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03704124-BB11-4EAE-5F68-6AD8EA6660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7917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1EAEB641-3FA3-A3BB-945F-7F6381D24B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9682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5F0B3CC7-EAF1-AD94-ED50-407378EA0B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241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4017B9AD-C4E7-B52B-8333-9107EE2806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385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8E1A4D10-BDD9-35AA-9458-218CA99DA4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4218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9CA85455-C07D-A367-0162-0067901FD3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530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07D31FBE-1E36-B087-C28D-D03E91BDF8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3046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65783372-FF8C-433B-74F4-363DA41981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59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37F05129-C658-38A7-E0B0-1125968173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6798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32C61D34-F956-BD13-CC1B-A4428059B6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053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40942147-FA70-221C-B2BC-FA87F4B4E5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6552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F1D25DA6-2884-6B40-2552-C6924C9C35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44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1957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AFDBCF4E-F038-264D-262E-8B2EA0270C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7870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919C7D38-1F3B-E789-C041-CBACCBB7BD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2742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63582ACE-5CF3-D16B-0076-306B26513C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9916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FC601AC8-C6E2-43E4-187E-A9B491476D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1032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9AD72B5F-54A5-0CDA-6F55-5B58EABC29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8504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B5B432BD-705D-A219-F7CF-FD19D6C683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4580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F41082A3-E61C-2F31-338A-92438F5175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1586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D2229A6B-1562-0475-13C5-9385AE2CB7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1823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A7CB52EE-5B87-7FDA-845D-3E77E50B6C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29568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B556B185-475D-AC8C-B192-770902B19B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78941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52A0E92E-238F-6433-3F2A-FEE3A6CE70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6559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32051378-0A03-D155-45D2-26C6EB08D8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4599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B489839C-513B-2730-9C3D-4ACB06C9F1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35841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3C008642-5B7A-5AF6-CAE8-48E587B067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47532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AE627718-E448-A7E8-B9D7-C561302A86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57413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B3AD48C4-94DA-DE44-E40D-BAA637F41E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144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1393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C0426ECB-32AC-4CCA-8CA3-33D52F989E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3413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24DE0881-7FB8-2793-4890-31498AEE5E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3889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6B50463E-FFF7-E0FF-FD0B-C286372670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1546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1F405A08-379F-4293-FA4D-0D2ED6376D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0144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1E6F0EFE-EE1D-798C-077D-E4EE151893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4930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02E697FC-CD76-B22A-7A17-50AA555CC0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8749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stination Uppsala">
  <a:themeElements>
    <a:clrScheme name="DestinationUppsala">
      <a:dk1>
        <a:srgbClr val="000000"/>
      </a:dk1>
      <a:lt1>
        <a:srgbClr val="FFFFFF"/>
      </a:lt1>
      <a:dk2>
        <a:srgbClr val="6C0808"/>
      </a:dk2>
      <a:lt2>
        <a:srgbClr val="FFE6E6"/>
      </a:lt2>
      <a:accent1>
        <a:srgbClr val="B30505"/>
      </a:accent1>
      <a:accent2>
        <a:srgbClr val="3550E2"/>
      </a:accent2>
      <a:accent3>
        <a:srgbClr val="FF5151"/>
      </a:accent3>
      <a:accent4>
        <a:srgbClr val="000000"/>
      </a:accent4>
      <a:accent5>
        <a:srgbClr val="A3B2FF"/>
      </a:accent5>
      <a:accent6>
        <a:srgbClr val="FFABAB"/>
      </a:accent6>
      <a:hlink>
        <a:srgbClr val="5F5F5F"/>
      </a:hlink>
      <a:folHlink>
        <a:srgbClr val="919191"/>
      </a:folHlink>
    </a:clrScheme>
    <a:fontScheme name="DestinationUppsala">
      <a:majorFont>
        <a:latin typeface="Uppsala Display"/>
        <a:ea typeface=""/>
        <a:cs typeface=""/>
      </a:majorFont>
      <a:minorFont>
        <a:latin typeface="TeXGyreHero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3000" dirty="0" err="1"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83000"/>
          </a:lnSpc>
          <a:defRPr sz="3000" dirty="0">
            <a:cs typeface="Arial" panose="020B0604020202020204" pitchFamily="34" charset="0"/>
          </a:defRPr>
        </a:defPPr>
      </a:lstStyle>
    </a:txDef>
  </a:objectDefaults>
  <a:extraClrSchemeLst/>
  <a:custClrLst>
    <a:custClr>
      <a:srgbClr val="000000"/>
    </a:custClr>
    <a:custClr>
      <a:srgbClr val="6C0808"/>
    </a:custClr>
    <a:custClr>
      <a:srgbClr val="B30505"/>
    </a:custClr>
    <a:custClr>
      <a:srgbClr val="FF2E2E"/>
    </a:custClr>
    <a:custClr>
      <a:srgbClr val="FF5151"/>
    </a:custClr>
    <a:custClr>
      <a:srgbClr val="FF7A7A"/>
    </a:custClr>
    <a:custClr>
      <a:srgbClr val="FFABAB"/>
    </a:custClr>
    <a:custClr>
      <a:srgbClr val="FFE6E6"/>
    </a:custClr>
    <a:custClr>
      <a:srgbClr val="FFFFFF"/>
    </a:custClr>
    <a:custClr>
      <a:srgbClr val="FFFFFF"/>
    </a:custClr>
    <a:custClr>
      <a:srgbClr val="FFFFFF"/>
    </a:custClr>
    <a:custClr>
      <a:srgbClr val="3550E2"/>
    </a:custClr>
    <a:custClr>
      <a:srgbClr val="6880FF"/>
    </a:custClr>
    <a:custClr>
      <a:srgbClr val="A3B2FF"/>
    </a:custClr>
  </a:custClrLst>
  <a:extLst>
    <a:ext uri="{05A4C25C-085E-4340-85A3-A5531E510DB2}">
      <thm15:themeFamily xmlns:thm15="http://schemas.microsoft.com/office/thememl/2012/main" name="Destination Uppsala mall.potx" id="{13035433-F46A-4AF9-BC9A-D3117F24EDE4}" vid="{E413B99F-1B34-4054-9695-AD100737D1D9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rgbClr val="000000"/>
      </a:dk1>
      <a:lt1>
        <a:srgbClr val="FFFFFF"/>
      </a:lt1>
      <a:dk2>
        <a:srgbClr val="6C0808"/>
      </a:dk2>
      <a:lt2>
        <a:srgbClr val="FFE6E6"/>
      </a:lt2>
      <a:accent1>
        <a:srgbClr val="B30505"/>
      </a:accent1>
      <a:accent2>
        <a:srgbClr val="3550E2"/>
      </a:accent2>
      <a:accent3>
        <a:srgbClr val="FF5151"/>
      </a:accent3>
      <a:accent4>
        <a:srgbClr val="000000"/>
      </a:accent4>
      <a:accent5>
        <a:srgbClr val="A3B2F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rgbClr val="000000"/>
      </a:dk1>
      <a:lt1>
        <a:srgbClr val="FFFFFF"/>
      </a:lt1>
      <a:dk2>
        <a:srgbClr val="6C0808"/>
      </a:dk2>
      <a:lt2>
        <a:srgbClr val="FFE6E6"/>
      </a:lt2>
      <a:accent1>
        <a:srgbClr val="B30505"/>
      </a:accent1>
      <a:accent2>
        <a:srgbClr val="3550E2"/>
      </a:accent2>
      <a:accent3>
        <a:srgbClr val="FF5151"/>
      </a:accent3>
      <a:accent4>
        <a:srgbClr val="000000"/>
      </a:accent4>
      <a:accent5>
        <a:srgbClr val="A3B2F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79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3B931610-F55B-482F-8719-FC5500382874}">
  <we:reference id="33491e4f-5d38-4c24-85cb-c5144f8a0d2f" version="1.0.0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489D2C303F0C04C8C8A52A97E8F7BF0" ma:contentTypeVersion="15" ma:contentTypeDescription="Skapa ett nytt dokument." ma:contentTypeScope="" ma:versionID="68a1458747e77449673cc9e753048af9">
  <xsd:schema xmlns:xsd="http://www.w3.org/2001/XMLSchema" xmlns:xs="http://www.w3.org/2001/XMLSchema" xmlns:p="http://schemas.microsoft.com/office/2006/metadata/properties" xmlns:ns2="8f37a1b3-4da0-4dc8-9448-84ace78ef729" xmlns:ns3="8f7bbf97-073a-44b4-b73e-d5ab471bc2d9" targetNamespace="http://schemas.microsoft.com/office/2006/metadata/properties" ma:root="true" ma:fieldsID="2fab09a176ff2cc0ca0a7a1723d0e107" ns2:_="" ns3:_="">
    <xsd:import namespace="8f37a1b3-4da0-4dc8-9448-84ace78ef729"/>
    <xsd:import namespace="8f7bbf97-073a-44b4-b73e-d5ab471bc2d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BillingMetadata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37a1b3-4da0-4dc8-9448-84ace78ef7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BillingMetadata" ma:index="14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Bildmarkeringar" ma:readOnly="false" ma:fieldId="{5cf76f15-5ced-4ddc-b409-7134ff3c332f}" ma:taxonomyMulti="true" ma:sspId="096207ad-ef36-41b4-a890-3b970be5e0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7bbf97-073a-44b4-b73e-d5ab471bc2d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5f45407d-a920-4b98-a6b5-f04ebc4ace14}" ma:internalName="TaxCatchAll" ma:showField="CatchAllData" ma:web="8f7bbf97-073a-44b4-b73e-d5ab471bc2d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f7bbf97-073a-44b4-b73e-d5ab471bc2d9" xsi:nil="true"/>
    <lcf76f155ced4ddcb4097134ff3c332f xmlns="8f37a1b3-4da0-4dc8-9448-84ace78ef729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CEBAD6A-AFE5-46E0-9A90-AF4AB80FFBE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617AB66-FF7C-440C-83CD-D63A534B7A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37a1b3-4da0-4dc8-9448-84ace78ef729"/>
    <ds:schemaRef ds:uri="8f7bbf97-073a-44b4-b73e-d5ab471bc2d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4ABDA6A-1F6C-4B42-8544-08E5AE6AC91F}">
  <ds:schemaRefs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metadata/properties"/>
    <ds:schemaRef ds:uri="8f7bbf97-073a-44b4-b73e-d5ab471bc2d9"/>
    <ds:schemaRef ds:uri="http://schemas.microsoft.com/office/2006/documentManagement/types"/>
    <ds:schemaRef ds:uri="8f37a1b3-4da0-4dc8-9448-84ace78ef729"/>
    <ds:schemaRef ds:uri="http://purl.org/dc/elements/1.1/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tination Uppsala</Template>
  <TotalTime>10</TotalTime>
  <Words>0</Words>
  <Application>Microsoft Office PowerPoint</Application>
  <PresentationFormat>Bredbild</PresentationFormat>
  <Paragraphs>0</Paragraphs>
  <Slides>37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37</vt:i4>
      </vt:variant>
    </vt:vector>
  </HeadingPairs>
  <TitlesOfParts>
    <vt:vector size="44" baseType="lpstr">
      <vt:lpstr>Calibri</vt:lpstr>
      <vt:lpstr>TeXGyreHeros</vt:lpstr>
      <vt:lpstr>Arial</vt:lpstr>
      <vt:lpstr>Uppsala Display</vt:lpstr>
      <vt:lpstr>Aptos</vt:lpstr>
      <vt:lpstr>1_Destination Uppsala</vt:lpstr>
      <vt:lpstr>think-cell Slide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Wenngren Marie</dc:creator>
  <cp:lastModifiedBy>Soler Vela Alejandro</cp:lastModifiedBy>
  <cp:revision>3</cp:revision>
  <dcterms:created xsi:type="dcterms:W3CDTF">2026-03-11T14:56:37Z</dcterms:created>
  <dcterms:modified xsi:type="dcterms:W3CDTF">2026-04-17T15:0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32000</vt:r8>
  </property>
  <property fmtid="{D5CDD505-2E9C-101B-9397-08002B2CF9AE}" pid="3" name="MediaServiceImageTags">
    <vt:lpwstr/>
  </property>
  <property fmtid="{D5CDD505-2E9C-101B-9397-08002B2CF9AE}" pid="4" name="NumCols">
    <vt:lpwstr>1</vt:lpwstr>
  </property>
  <property fmtid="{D5CDD505-2E9C-101B-9397-08002B2CF9AE}" pid="5" name="NumRows">
    <vt:lpwstr>1</vt:lpwstr>
  </property>
  <property fmtid="{D5CDD505-2E9C-101B-9397-08002B2CF9AE}" pid="6" name="ColSpacing">
    <vt:lpwstr>0,45</vt:lpwstr>
  </property>
  <property fmtid="{D5CDD505-2E9C-101B-9397-08002B2CF9AE}" pid="7" name="RowSpacing">
    <vt:lpwstr>0,45</vt:lpwstr>
  </property>
  <property fmtid="{D5CDD505-2E9C-101B-9397-08002B2CF9AE}" pid="8" name="Mall">
    <vt:lpwstr>0,95</vt:lpwstr>
  </property>
  <property fmtid="{D5CDD505-2E9C-101B-9397-08002B2CF9AE}" pid="9" name="Mleft">
    <vt:lpwstr>0,89</vt:lpwstr>
  </property>
  <property fmtid="{D5CDD505-2E9C-101B-9397-08002B2CF9AE}" pid="10" name="Mright">
    <vt:lpwstr>0,89</vt:lpwstr>
  </property>
  <property fmtid="{D5CDD505-2E9C-101B-9397-08002B2CF9AE}" pid="11" name="Mtop">
    <vt:lpwstr>0,95</vt:lpwstr>
  </property>
  <property fmtid="{D5CDD505-2E9C-101B-9397-08002B2CF9AE}" pid="12" name="Mbot">
    <vt:lpwstr>0,95</vt:lpwstr>
  </property>
  <property fmtid="{D5CDD505-2E9C-101B-9397-08002B2CF9AE}" pid="13" name="ContentTypeId">
    <vt:lpwstr>0x0101008489D2C303F0C04C8C8A52A97E8F7BF0</vt:lpwstr>
  </property>
</Properties>
</file>